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0"/>
  </p:notesMasterIdLst>
  <p:handoutMasterIdLst>
    <p:handoutMasterId r:id="rId81"/>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539" r:id="rId76"/>
    <p:sldId id="540" r:id="rId77"/>
    <p:sldId id="541" r:id="rId78"/>
    <p:sldId id="317" r:id="rId7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14" d="100"/>
          <a:sy n="114" d="100"/>
        </p:scale>
        <p:origin x="516" y="96"/>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presProps" Target="presProps.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notesMaster" Target="notesMasters/notesMaster1.xml"/><Relationship Id="rId85"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6/25/2019</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6/2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1243074410"/>
              </p:ext>
            </p:extLst>
          </p:nvPr>
        </p:nvGraphicFramePr>
        <p:xfrm>
          <a:off x="2279576" y="3970850"/>
          <a:ext cx="7611795" cy="1671384"/>
        </p:xfrm>
        <a:graphic>
          <a:graphicData uri="http://schemas.openxmlformats.org/drawingml/2006/table">
            <a:tbl>
              <a:tblPr firstRow="1" bandRow="1">
                <a:tableStyleId>{9DCAF9ED-07DC-4A11-8D7F-57B35C25682E}</a:tableStyleId>
              </a:tblPr>
              <a:tblGrid>
                <a:gridCol w="3456385">
                  <a:extLst>
                    <a:ext uri="{9D8B030D-6E8A-4147-A177-3AD203B41FA5}">
                      <a16:colId xmlns:a16="http://schemas.microsoft.com/office/drawing/2014/main" val="20000"/>
                    </a:ext>
                  </a:extLst>
                </a:gridCol>
                <a:gridCol w="831082">
                  <a:extLst>
                    <a:ext uri="{9D8B030D-6E8A-4147-A177-3AD203B41FA5}">
                      <a16:colId xmlns:a16="http://schemas.microsoft.com/office/drawing/2014/main" val="20001"/>
                    </a:ext>
                  </a:extLst>
                </a:gridCol>
                <a:gridCol w="831082">
                  <a:extLst>
                    <a:ext uri="{9D8B030D-6E8A-4147-A177-3AD203B41FA5}">
                      <a16:colId xmlns:a16="http://schemas.microsoft.com/office/drawing/2014/main" val="20002"/>
                    </a:ext>
                  </a:extLst>
                </a:gridCol>
                <a:gridCol w="831082">
                  <a:extLst>
                    <a:ext uri="{9D8B030D-6E8A-4147-A177-3AD203B41FA5}">
                      <a16:colId xmlns:a16="http://schemas.microsoft.com/office/drawing/2014/main" val="20003"/>
                    </a:ext>
                  </a:extLst>
                </a:gridCol>
                <a:gridCol w="831082">
                  <a:extLst>
                    <a:ext uri="{9D8B030D-6E8A-4147-A177-3AD203B41FA5}">
                      <a16:colId xmlns:a16="http://schemas.microsoft.com/office/drawing/2014/main" val="20004"/>
                    </a:ext>
                  </a:extLst>
                </a:gridCol>
                <a:gridCol w="831082">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91590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METRICS</a:t>
              </a:r>
              <a:r>
                <a:rPr lang="en-GB" sz="1050" b="1" dirty="0"/>
                <a:t>= </a:t>
              </a:r>
              <a:r>
                <a:rPr lang="en-GB" sz="1050" dirty="0"/>
                <a:t>list of ids or standard tags, separated by | (can be Business or Technical Criterion, quality rules or quality standard tags)</a:t>
              </a:r>
              <a:endParaRPr lang="en-US" sz="1050" dirty="0"/>
            </a:p>
            <a:p>
              <a:r>
                <a:rPr lang="en-GB" sz="1050" dirty="0"/>
                <a:t>-   </a:t>
              </a:r>
              <a:r>
                <a:rPr lang="en-GB" sz="1050" b="1" dirty="0"/>
                <a:t>COMPLIANCE=true or false</a:t>
              </a:r>
              <a:r>
                <a:rPr lang="en-GB" sz="1050" dirty="0"/>
                <a:t> if you want to display the Compliance ratio column (default false)</a:t>
              </a:r>
              <a:endParaRPr lang="en-US" sz="1050" dirty="0"/>
            </a:p>
            <a:p>
              <a:pPr marL="171450" indent="-171450">
                <a:buFontTx/>
                <a:buChar char="-"/>
              </a:pPr>
              <a:r>
                <a:rPr lang="en-GB" sz="1050" b="1" dirty="0"/>
                <a:t>CRITICAL=true or false </a:t>
              </a:r>
              <a:r>
                <a:rPr lang="en-GB" sz="1050" dirty="0"/>
                <a:t>if you want to filter the metrics from the Business or Technical Criteria by critical metrics (default false)</a:t>
              </a:r>
              <a:endParaRPr lang="en-US" sz="1050" dirty="0"/>
            </a:p>
            <a:p>
              <a:pPr marL="171450" indent="-171450">
                <a:buFontTx/>
                <a:buChar char="-"/>
              </a:pPr>
              <a:r>
                <a:rPr lang="en-GB" sz="1050" b="1" dirty="0"/>
                <a:t>SORTED=TOTAL|COMPLIANCE</a:t>
              </a:r>
              <a:r>
                <a:rPr lang="en-GB" sz="1050" dirty="0"/>
                <a:t> to sort the results from max number of violations to min, or by compliance score by worse to better (if compliance score column is displayed), default is TOTAL</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76760775"/>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3311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endParaRPr lang="en-US" sz="1100" dirty="0"/>
            </a:p>
            <a:p>
              <a:pPr marL="171450" indent="-171450">
                <a:buFontTx/>
                <a:buChar char="-"/>
              </a:pPr>
              <a:endParaRPr lang="en-US" sz="6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061356"/>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02723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167007762"/>
              </p:ext>
            </p:extLst>
          </p:nvPr>
        </p:nvGraphicFramePr>
        <p:xfrm>
          <a:off x="2427521" y="3806108"/>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D52AF15E-5149-4E13-8FA7-98FD20803DA4}"/>
              </a:ext>
            </a:extLst>
          </p:cNvPr>
          <p:cNvSpPr txBox="1"/>
          <p:nvPr/>
        </p:nvSpPr>
        <p:spPr>
          <a:xfrm>
            <a:off x="8137321" y="1343400"/>
            <a:ext cx="1526380" cy="338554"/>
          </a:xfrm>
          <a:prstGeom prst="rect">
            <a:avLst/>
          </a:prstGeom>
        </p:spPr>
        <p:txBody>
          <a:bodyPr vert="horz" wrap="square" lIns="91440" tIns="45720" rIns="91440" bIns="45720" rtlCol="0" anchor="t">
            <a:noAutofit/>
          </a:bodyPr>
          <a:lstStyle/>
          <a:p>
            <a:r>
              <a:rPr lang="en-US" dirty="0">
                <a:solidFill>
                  <a:srgbClr val="FF0000"/>
                </a:solidFill>
              </a:rPr>
              <a:t>UPDATED</a:t>
            </a:r>
          </a:p>
        </p:txBody>
      </p:sp>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0049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PROP1</a:t>
              </a:r>
              <a:r>
                <a:rPr lang="en-US" sz="1100" i="0" dirty="0"/>
                <a:t> : name of first property, </a:t>
              </a:r>
              <a:r>
                <a:rPr lang="en-US" sz="1100" i="0" dirty="0" err="1"/>
                <a:t>cyclomaticComplexity</a:t>
              </a:r>
              <a:r>
                <a:rPr lang="en-US" sz="1100" i="0" dirty="0"/>
                <a:t> if not exists</a:t>
              </a:r>
            </a:p>
            <a:p>
              <a:pPr marL="171450" indent="-171450">
                <a:buFont typeface="Arial" panose="020B0604020202020204" pitchFamily="34" charset="0"/>
                <a:buChar char="•"/>
              </a:pPr>
              <a:r>
                <a:rPr lang="en-US" sz="1100" b="1" i="0" dirty="0"/>
                <a:t>PROP2</a:t>
              </a:r>
              <a:r>
                <a:rPr lang="en-US" sz="1100" i="0" dirty="0"/>
                <a:t> : name of second property, </a:t>
              </a:r>
              <a:r>
                <a:rPr lang="en-US" sz="1100" i="0" dirty="0" err="1"/>
                <a:t>fanOut</a:t>
              </a:r>
              <a:r>
                <a:rPr lang="en-US" sz="1100" i="0" dirty="0"/>
                <a:t> if not exists</a:t>
              </a:r>
            </a:p>
            <a:p>
              <a:pPr marL="171450" indent="-171450">
                <a:buFont typeface="Arial" panose="020B0604020202020204" pitchFamily="34" charset="0"/>
                <a:buChar char="•"/>
              </a:pPr>
              <a:r>
                <a:rPr lang="en-US" sz="1100" b="1" i="0" dirty="0"/>
                <a:t>ORDER1</a:t>
              </a:r>
              <a:r>
                <a:rPr lang="en-US" sz="1100" i="0" dirty="0"/>
                <a:t> : ASC or DESC for PROP1, DESC by default</a:t>
              </a:r>
            </a:p>
            <a:p>
              <a:pPr marL="171450" indent="-171450">
                <a:buFont typeface="Arial" panose="020B0604020202020204" pitchFamily="34" charset="0"/>
                <a:buChar char="•"/>
              </a:pPr>
              <a:r>
                <a:rPr lang="en-US" sz="1100" b="1" i="0" dirty="0"/>
                <a:t>ORDER2</a:t>
              </a:r>
              <a:r>
                <a:rPr lang="en-US" sz="1100" i="0" dirty="0"/>
                <a:t> : ASC or DESC for PROP2, DESC by default</a:t>
              </a:r>
            </a:p>
            <a:p>
              <a:pPr marL="171450" indent="-171450">
                <a:buFont typeface="Arial" panose="020B0604020202020204" pitchFamily="34" charset="0"/>
                <a:buChar char="•"/>
              </a:pPr>
              <a:r>
                <a:rPr lang="en-US" sz="1100" b="1" i="0" dirty="0"/>
                <a:t>COUNT</a:t>
              </a:r>
              <a:r>
                <a:rPr lang="en-US" sz="1100" i="0" dirty="0"/>
                <a:t>: the number of lines to display, 50 by default (-1 or all is not allowed, it will take too much time and paper)</a:t>
              </a:r>
              <a:endParaRPr lang="en-US" sz="900" dirty="0"/>
            </a:p>
            <a:p>
              <a:r>
                <a:rPr lang="en-US" sz="900" dirty="0"/>
                <a:t>For PROP1 and PROP2, the available values are : </a:t>
              </a:r>
              <a:r>
                <a:rPr lang="en-US" sz="900" dirty="0" err="1"/>
                <a:t>codeLines</a:t>
              </a:r>
              <a:r>
                <a:rPr lang="en-US" sz="900" dirty="0"/>
                <a:t>, </a:t>
              </a:r>
              <a:r>
                <a:rPr lang="en-US" sz="900" dirty="0" err="1"/>
                <a:t>commentedCodeLines</a:t>
              </a:r>
              <a:r>
                <a:rPr lang="en-US" sz="900" dirty="0"/>
                <a:t>, </a:t>
              </a:r>
              <a:r>
                <a:rPr lang="en-US" sz="900" dirty="0" err="1"/>
                <a:t>commentLines</a:t>
              </a:r>
              <a:r>
                <a:rPr lang="en-US" sz="900" dirty="0"/>
                <a:t>, coupling, </a:t>
              </a:r>
              <a:r>
                <a:rPr lang="en-US" sz="900" dirty="0" err="1"/>
                <a:t>fanIn</a:t>
              </a:r>
              <a:r>
                <a:rPr lang="en-US" sz="900" dirty="0"/>
                <a:t>, </a:t>
              </a:r>
              <a:r>
                <a:rPr lang="en-US" sz="900" dirty="0" err="1"/>
                <a:t>fanOut</a:t>
              </a:r>
              <a:r>
                <a:rPr lang="en-US" sz="900" dirty="0"/>
                <a:t>, </a:t>
              </a:r>
              <a:r>
                <a:rPr lang="en-US" sz="900" dirty="0" err="1"/>
                <a:t>cyclomaticComplexity</a:t>
              </a:r>
              <a:r>
                <a:rPr lang="en-US" sz="900" dirty="0"/>
                <a:t>, </a:t>
              </a:r>
              <a:r>
                <a:rPr lang="en-US" sz="900" dirty="0" err="1"/>
                <a:t>ratioCommentLinesCodeLines</a:t>
              </a:r>
              <a:r>
                <a:rPr lang="en-US" sz="900" dirty="0"/>
                <a:t>, </a:t>
              </a:r>
              <a:r>
                <a:rPr lang="en-US" sz="900" dirty="0" err="1"/>
                <a:t>halsteadProgramLength</a:t>
              </a:r>
              <a:r>
                <a:rPr lang="en-US" sz="900" dirty="0"/>
                <a:t>, </a:t>
              </a:r>
              <a:r>
                <a:rPr lang="en-US" sz="900" dirty="0" err="1"/>
                <a:t>halsteadProgramVocabulary</a:t>
              </a:r>
              <a:r>
                <a:rPr lang="en-US" sz="900" dirty="0"/>
                <a:t>, </a:t>
              </a:r>
              <a:r>
                <a:rPr lang="en-US" sz="900" dirty="0" err="1"/>
                <a:t>halsteadVolume</a:t>
              </a:r>
              <a:r>
                <a:rPr lang="en-US" sz="900" dirty="0"/>
                <a:t>, </a:t>
              </a:r>
              <a:r>
                <a:rPr lang="en-US" sz="900" dirty="0" err="1"/>
                <a:t>distinctOperators</a:t>
              </a:r>
              <a:r>
                <a:rPr lang="en-US" sz="900" dirty="0"/>
                <a:t>, </a:t>
              </a:r>
              <a:r>
                <a:rPr lang="en-US" sz="900" dirty="0" err="1"/>
                <a:t>distinctOperands</a:t>
              </a:r>
              <a:r>
                <a:rPr lang="en-US" sz="900" dirty="0"/>
                <a:t>, </a:t>
              </a:r>
              <a:r>
                <a:rPr lang="en-US" sz="900" dirty="0" err="1"/>
                <a:t>integrationComplexity</a:t>
              </a:r>
              <a:r>
                <a:rPr lang="en-US" sz="900" dirty="0"/>
                <a:t>, </a:t>
              </a:r>
              <a:r>
                <a:rPr lang="en-US" sz="900" dirty="0" err="1"/>
                <a:t>essentialComplexity</a:t>
              </a:r>
              <a:endParaRPr lang="en-US" sz="900" dirty="0"/>
            </a:p>
            <a:p>
              <a:r>
                <a:rPr lang="en-US" sz="900" dirty="0"/>
                <a:t>If PROP1 and/or PROP2 is not correctly </a:t>
              </a:r>
              <a:r>
                <a:rPr lang="en-US" sz="900" dirty="0" err="1"/>
                <a:t>set,list</a:t>
              </a:r>
              <a:r>
                <a:rPr lang="en-US" sz="900"/>
                <a:t> of available values is displayed</a:t>
              </a:r>
              <a:endParaRPr lang="en-US" sz="1100" i="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9525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56113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18756734"/>
              </p:ext>
            </p:extLst>
          </p:nvPr>
        </p:nvGraphicFramePr>
        <p:xfrm>
          <a:off x="2427521" y="4118774"/>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
        <p:nvSpPr>
          <p:cNvPr id="4" name="TextBox 3">
            <a:extLst>
              <a:ext uri="{FF2B5EF4-FFF2-40B4-BE49-F238E27FC236}">
                <a16:creationId xmlns:a16="http://schemas.microsoft.com/office/drawing/2014/main" id="{B5EDDA2C-6014-4AEB-94F2-DE8D7D0EABB3}"/>
              </a:ext>
            </a:extLst>
          </p:cNvPr>
          <p:cNvSpPr txBox="1"/>
          <p:nvPr/>
        </p:nvSpPr>
        <p:spPr>
          <a:xfrm>
            <a:off x="7994708" y="1493240"/>
            <a:ext cx="1526380" cy="338554"/>
          </a:xfrm>
          <a:prstGeom prst="rect">
            <a:avLst/>
          </a:prstGeom>
        </p:spPr>
        <p:txBody>
          <a:bodyPr vert="horz" wrap="square" lIns="91440" tIns="45720" rIns="91440" bIns="45720" rtlCol="0" anchor="t">
            <a:noAutofit/>
          </a:bodyPr>
          <a:lstStyle/>
          <a:p>
            <a:r>
              <a:rPr lang="en-US" dirty="0">
                <a:solidFill>
                  <a:srgbClr val="FF0000"/>
                </a:solidFill>
              </a:rPr>
              <a:t>UPDATED</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740</TotalTime>
  <Words>7332</Words>
  <Application>Microsoft Office PowerPoint</Application>
  <PresentationFormat>Widescreen</PresentationFormat>
  <Paragraphs>2209</Paragraphs>
  <Slides>78</Slides>
  <Notes>2</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78</vt:i4>
      </vt:variant>
    </vt:vector>
  </HeadingPairs>
  <TitlesOfParts>
    <vt:vector size="89" baseType="lpstr">
      <vt:lpstr>Bahnschrift Light</vt:lpstr>
      <vt:lpstr>Arial</vt:lpstr>
      <vt:lpstr>Calibri</vt:lpstr>
      <vt:lpstr>Courier New</vt:lpstr>
      <vt:lpstr>Gotham Book</vt:lpstr>
      <vt:lpstr>Gotham Light</vt:lpstr>
      <vt:lpstr>Times New Roman</vt:lpstr>
      <vt:lpstr>Trebuchet MS</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697</cp:revision>
  <dcterms:created xsi:type="dcterms:W3CDTF">2016-10-16T15:51:34Z</dcterms:created>
  <dcterms:modified xsi:type="dcterms:W3CDTF">2019-06-25T13:30:06Z</dcterms:modified>
</cp:coreProperties>
</file>